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256" r:id="rId6"/>
    <p:sldId id="458" r:id="rId7"/>
    <p:sldId id="459" r:id="rId8"/>
    <p:sldId id="460" r:id="rId9"/>
    <p:sldId id="461" r:id="rId10"/>
    <p:sldId id="462" r:id="rId11"/>
    <p:sldId id="463" r:id="rId12"/>
    <p:sldId id="36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 Wu" initials="DW" lastIdx="2" clrIdx="0">
    <p:extLst>
      <p:ext uri="{19B8F6BF-5375-455C-9EA6-DF929625EA0E}">
        <p15:presenceInfo xmlns:p15="http://schemas.microsoft.com/office/powerpoint/2012/main" userId="ac0f31cbe9b5d11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9EDEF"/>
    <a:srgbClr val="FFCCCC"/>
    <a:srgbClr val="E4AEB7"/>
    <a:srgbClr val="B2B2B2"/>
    <a:srgbClr val="D8ECDB"/>
    <a:srgbClr val="FF5050"/>
    <a:srgbClr val="CFAFE7"/>
    <a:srgbClr val="B686DA"/>
    <a:srgbClr val="DC9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08" autoAdjust="0"/>
    <p:restoredTop sz="92000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240" y="544"/>
      </p:cViewPr>
      <p:guideLst>
        <p:guide orient="horz" pos="2160"/>
        <p:guide pos="384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1630" y="-5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F0141-3732-4D57-B2DC-D3AD93A454E7}" type="datetimeFigureOut">
              <a:rPr lang="zh-CN" altLang="en-US" smtClean="0">
                <a:ea typeface="微软雅黑" panose="020B0503020204020204" pitchFamily="34" charset="-122"/>
              </a:rPr>
              <a:pPr/>
              <a:t>2021/12/22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AD7D32-51B5-437C-9C66-E29080E9E54A}" type="slidenum">
              <a:rPr lang="zh-CN" altLang="en-US" smtClean="0">
                <a:ea typeface="微软雅黑" panose="020B0503020204020204" pitchFamily="34" charset="-122"/>
              </a:rPr>
              <a:pPr/>
              <a:t>‹#›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6555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22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17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79720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6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3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5060956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08057" tIns="54029" rIns="108057" bIns="54029" anchor="ctr"/>
          <a:lstStyle/>
          <a:p>
            <a:endParaRPr lang="en-US" sz="2133" noProof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49ADB0A-0B66-4CB2-B840-465651EE68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0706" y="122044"/>
            <a:ext cx="672353" cy="7593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88268"/>
              </p:ext>
            </p:extLst>
          </p:nvPr>
        </p:nvGraphicFramePr>
        <p:xfrm>
          <a:off x="2117" y="1907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3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907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>
            <a:normAutofit/>
          </a:bodyPr>
          <a:lstStyle>
            <a:lvl1pPr>
              <a:spcBef>
                <a:spcPts val="453"/>
              </a:spcBef>
              <a:defRPr sz="1800"/>
            </a:lvl1pPr>
            <a:lvl2pPr marL="540274" indent="-272265">
              <a:spcBef>
                <a:spcPts val="453"/>
              </a:spcBef>
              <a:defRPr sz="1800"/>
            </a:lvl2pPr>
            <a:lvl3pPr marL="1080550" indent="-272265">
              <a:spcBef>
                <a:spcPts val="453"/>
              </a:spcBef>
              <a:defRPr sz="1800"/>
            </a:lvl3pPr>
            <a:lvl4pPr marL="1625079" indent="-276518">
              <a:spcBef>
                <a:spcPts val="453"/>
              </a:spcBef>
              <a:defRPr sz="1800"/>
            </a:lvl4pPr>
            <a:lvl5pPr marL="2433364" indent="-272265">
              <a:spcBef>
                <a:spcPts val="453"/>
              </a:spcBef>
              <a:defRPr sz="18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283933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9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13234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3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57" tIns="106356" rIns="108057" bIns="106356" rtlCol="0" anchor="ctr" anchorCtr="0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8" y="1738316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7547766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3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0522" rIns="0" bIns="40522" rtlCol="0" anchor="ctr" anchorCtr="0">
            <a:noAutofit/>
          </a:bodyPr>
          <a:lstStyle/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108057" tIns="54029" rIns="108057" bIns="54029"/>
          <a:lstStyle/>
          <a:p>
            <a:endParaRPr lang="en-US" sz="2133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40" y="6661020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080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080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1067" dirty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69945" y="6690180"/>
            <a:ext cx="382476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Confidential – do not redistribute</a:t>
            </a:r>
            <a:r>
              <a:rPr lang="en-US" sz="800" b="1" kern="1200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without written permission from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9" name="Rectangle 2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728896" y="6690180"/>
            <a:ext cx="149239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Copyright © 2020</a:t>
            </a:r>
            <a:r>
              <a:rPr lang="en-US" sz="800" b="1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1880A4E-BE0D-4BA2-AB0B-CE589DF2BC9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5" y="6420269"/>
            <a:ext cx="347994" cy="39302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4" r:id="rId3"/>
    <p:sldLayoutId id="2147483655" r:id="rId4"/>
    <p:sldLayoutId id="2147483660" r:id="rId5"/>
  </p:sldLayoutIdLst>
  <p:hf hdr="0" ftr="0" dt="0"/>
  <p:txStyles>
    <p:titleStyle>
      <a:lvl1pPr algn="l" defTabSz="108055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80550" rtl="0" eaLnBrk="1" latinLnBrk="0" hangingPunct="1">
        <a:spcBef>
          <a:spcPts val="453"/>
        </a:spcBef>
        <a:buFontTx/>
        <a:buNone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26454" indent="-27576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433114" indent="-27201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971512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1178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52063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59233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08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1099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137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416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819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2220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1537D549-1D5B-4BDD-AD6F-98E2614A52A1}"/>
              </a:ext>
            </a:extLst>
          </p:cNvPr>
          <p:cNvSpPr txBox="1"/>
          <p:nvPr/>
        </p:nvSpPr>
        <p:spPr>
          <a:xfrm>
            <a:off x="4197709" y="2248259"/>
            <a:ext cx="3775393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区块链在</a:t>
            </a:r>
            <a:r>
              <a:rPr lang="en-US" altLang="zh-CN" sz="28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K8s </a:t>
            </a:r>
            <a:r>
              <a:rPr lang="zh-CN" altLang="en-US" sz="28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上的应用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BE73-1CAF-4127-B4BD-1E218A0DE061}"/>
              </a:ext>
            </a:extLst>
          </p:cNvPr>
          <p:cNvSpPr txBox="1"/>
          <p:nvPr/>
        </p:nvSpPr>
        <p:spPr>
          <a:xfrm>
            <a:off x="4149899" y="5669422"/>
            <a:ext cx="3875075" cy="551088"/>
          </a:xfrm>
          <a:prstGeom prst="rect">
            <a:avLst/>
          </a:prstGeom>
          <a:ln w="12700">
            <a:miter lim="400000"/>
          </a:ln>
        </p:spPr>
        <p:txBody>
          <a:bodyPr wrap="none" lIns="89999" tIns="89999" rIns="89999" bIns="89999">
            <a:spAutoFit/>
          </a:bodyPr>
          <a:lstStyle>
            <a:lvl1pPr algn="ctr">
              <a:defRPr sz="3200" b="1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lvl1pPr>
          </a:lstStyle>
          <a:p>
            <a:r>
              <a:rPr sz="2400" b="0" dirty="0"/>
              <a:t>深圳行云创新科技有限公司</a:t>
            </a:r>
          </a:p>
        </p:txBody>
      </p:sp>
    </p:spTree>
    <p:extLst>
      <p:ext uri="{BB962C8B-B14F-4D97-AF65-F5344CB8AC3E}">
        <p14:creationId xmlns:p14="http://schemas.microsoft.com/office/powerpoint/2010/main" val="2357106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50613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传统开发集成部署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77288E-A0BE-9049-91C1-58291F8108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833" y="1241593"/>
            <a:ext cx="4698460" cy="47737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0AD7E2-9180-F44D-AA0E-4DEB52F38B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180206"/>
            <a:ext cx="5818958" cy="4896560"/>
          </a:xfrm>
          <a:prstGeom prst="rect">
            <a:avLst/>
          </a:prstGeom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id="{32C2AC63-EDC8-6B48-9C55-D9E3FB51524F}"/>
              </a:ext>
            </a:extLst>
          </p:cNvPr>
          <p:cNvSpPr/>
          <p:nvPr/>
        </p:nvSpPr>
        <p:spPr>
          <a:xfrm>
            <a:off x="5255293" y="2821021"/>
            <a:ext cx="1019047" cy="515566"/>
          </a:xfrm>
          <a:prstGeom prst="rightArrow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929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K8S</a:t>
            </a:r>
            <a:r>
              <a:rPr lang="zh-CN" altLang="en-US" sz="2800" dirty="0"/>
              <a:t>集成部署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345E50-FA92-9145-8C32-6207F2FA7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4312" y="1081470"/>
            <a:ext cx="4698381" cy="5209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585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在</a:t>
            </a:r>
            <a:r>
              <a:rPr lang="en-US" altLang="zh-CN" dirty="0"/>
              <a:t>K8S</a:t>
            </a:r>
            <a:r>
              <a:rPr lang="zh-CN" altLang="en-US" sz="2800" dirty="0"/>
              <a:t>部署的优点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1E8C17-43FC-3348-98FE-2A66C76BB14B}"/>
              </a:ext>
            </a:extLst>
          </p:cNvPr>
          <p:cNvSpPr txBox="1"/>
          <p:nvPr/>
        </p:nvSpPr>
        <p:spPr>
          <a:xfrm>
            <a:off x="562708" y="1226634"/>
            <a:ext cx="11324492" cy="178219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0000"/>
                </a:solidFill>
                <a:latin typeface="FangSong" panose="02010609060101010101" pitchFamily="49" charset="-122"/>
                <a:ea typeface="FangSong" panose="02010609060101010101" pitchFamily="49" charset="-122"/>
                <a:cs typeface="Arial" pitchFamily="34" charset="0"/>
              </a:rPr>
              <a:t>快速集成</a:t>
            </a:r>
            <a:endParaRPr lang="en-US" altLang="zh-CN" sz="1800" dirty="0">
              <a:solidFill>
                <a:srgbClr val="000000"/>
              </a:solidFill>
              <a:latin typeface="FangSong" panose="02010609060101010101" pitchFamily="49" charset="-122"/>
              <a:ea typeface="FangSong" panose="02010609060101010101" pitchFamily="49" charset="-122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0000"/>
                </a:solidFill>
                <a:latin typeface="FangSong" panose="02010609060101010101" pitchFamily="49" charset="-122"/>
                <a:ea typeface="FangSong" panose="02010609060101010101" pitchFamily="49" charset="-122"/>
                <a:cs typeface="Arial" pitchFamily="34" charset="0"/>
              </a:rPr>
              <a:t>快速扩容</a:t>
            </a:r>
            <a:endParaRPr lang="en-US" altLang="zh-CN" sz="1800" dirty="0">
              <a:solidFill>
                <a:srgbClr val="000000"/>
              </a:solidFill>
              <a:latin typeface="FangSong" panose="02010609060101010101" pitchFamily="49" charset="-122"/>
              <a:ea typeface="FangSong" panose="02010609060101010101" pitchFamily="49" charset="-122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0000"/>
                </a:solidFill>
                <a:latin typeface="FangSong" panose="02010609060101010101" pitchFamily="49" charset="-122"/>
                <a:ea typeface="FangSong" panose="02010609060101010101" pitchFamily="49" charset="-122"/>
                <a:cs typeface="Arial" pitchFamily="34" charset="0"/>
              </a:rPr>
              <a:t>集群搭建成本低</a:t>
            </a:r>
            <a:endParaRPr lang="en-US" altLang="zh-CN" sz="1800" dirty="0">
              <a:solidFill>
                <a:srgbClr val="000000"/>
              </a:solidFill>
              <a:latin typeface="FangSong" panose="02010609060101010101" pitchFamily="49" charset="-122"/>
              <a:ea typeface="FangSong" panose="02010609060101010101" pitchFamily="49" charset="-122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0000"/>
                </a:solidFill>
                <a:latin typeface="FangSong" panose="02010609060101010101" pitchFamily="49" charset="-122"/>
                <a:ea typeface="FangSong" panose="02010609060101010101" pitchFamily="49" charset="-122"/>
                <a:cs typeface="Arial" pitchFamily="34" charset="0"/>
              </a:rPr>
              <a:t>便于实施集群监控</a:t>
            </a:r>
            <a:endParaRPr lang="en-US" altLang="zh-CN" sz="1800" dirty="0">
              <a:solidFill>
                <a:srgbClr val="000000"/>
              </a:solidFill>
              <a:latin typeface="FangSong" panose="02010609060101010101" pitchFamily="49" charset="-122"/>
              <a:ea typeface="FangSong" panose="02010609060101010101" pitchFamily="49" charset="-122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800" dirty="0">
              <a:solidFill>
                <a:srgbClr val="000000"/>
              </a:solidFill>
              <a:latin typeface="FangSong" panose="02010609060101010101" pitchFamily="49" charset="-122"/>
              <a:ea typeface="FangSong" panose="02010609060101010101" pitchFamily="49" charset="-122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674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Ethereum</a:t>
            </a:r>
            <a:r>
              <a:rPr lang="zh-CN" altLang="en-US" sz="2800" dirty="0"/>
              <a:t> 在</a:t>
            </a:r>
            <a:r>
              <a:rPr lang="en-US" altLang="zh-CN" sz="2800" dirty="0"/>
              <a:t>K8S</a:t>
            </a:r>
            <a:r>
              <a:rPr lang="zh-CN" altLang="en-US" sz="2800" dirty="0"/>
              <a:t> 上部署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950D4B-0138-404B-B8E6-5FD5519C3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3405" y="1092946"/>
            <a:ext cx="7794702" cy="525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1498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Fabric</a:t>
            </a:r>
            <a:r>
              <a:rPr lang="zh-CN" altLang="en-US" sz="2800" dirty="0"/>
              <a:t> 在</a:t>
            </a:r>
            <a:r>
              <a:rPr lang="en-US" altLang="zh-CN" sz="2800" dirty="0"/>
              <a:t>K8S</a:t>
            </a:r>
            <a:r>
              <a:rPr lang="zh-CN" altLang="en-US" sz="2800" dirty="0"/>
              <a:t> 上部署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7099EC-194F-AE4F-B67A-93BF7A1119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53185"/>
            <a:ext cx="12192000" cy="464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162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47403" y="2545237"/>
            <a:ext cx="3565400" cy="141286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8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谢 谢！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11612" y="5236611"/>
            <a:ext cx="3000693" cy="101275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联系我们：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rketing‍@cloudtogo.cn</a:t>
            </a: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0755-86955652</a:t>
            </a:r>
            <a:endParaRPr lang="zh-CN" altLang="en-US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709" y="4846320"/>
            <a:ext cx="1785864" cy="17858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8508" y="4845269"/>
            <a:ext cx="1782104" cy="178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4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02&quot; g=&quot;6E&quot; b=&quot;4A&quot;/&gt;&lt;m_nBrightness val=&quot;0&quot;/&gt;&lt;/elem&gt;&lt;elem m_fUsage=&quot;9.00000000000000020000E-001&quot;&gt;&lt;m_msothmcolidx val=&quot;0&quot;/&gt;&lt;m_rgb r=&quot;02&quot; g=&quot;75&quot; b=&quot;4A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公共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D2F14E-91D0-46BE-AF0B-03FA64177EC7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P</Template>
  <TotalTime>32939</TotalTime>
  <Words>57</Words>
  <Application>Microsoft Macintosh PowerPoint</Application>
  <PresentationFormat>Widescreen</PresentationFormat>
  <Paragraphs>1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FangSong</vt:lpstr>
      <vt:lpstr>微软雅黑</vt:lpstr>
      <vt:lpstr>Arial</vt:lpstr>
      <vt:lpstr>Calibri</vt:lpstr>
      <vt:lpstr>公共</vt:lpstr>
      <vt:lpstr>think-cell Slide</vt:lpstr>
      <vt:lpstr>PowerPoint Presentation</vt:lpstr>
      <vt:lpstr>目录</vt:lpstr>
      <vt:lpstr>传统开发集成部署</vt:lpstr>
      <vt:lpstr>K8S集成部署</vt:lpstr>
      <vt:lpstr>区块链在K8S部署的优点</vt:lpstr>
      <vt:lpstr>Ethereum 在K8S 上部署</vt:lpstr>
      <vt:lpstr>Fabric 在K8S 上部署</vt:lpstr>
      <vt:lpstr>PowerPoint Presentation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creator>Dell</dc:creator>
  <cp:lastModifiedBy>Alvin wang</cp:lastModifiedBy>
  <cp:revision>1888</cp:revision>
  <dcterms:created xsi:type="dcterms:W3CDTF">2015-11-23T07:38:28Z</dcterms:created>
  <dcterms:modified xsi:type="dcterms:W3CDTF">2021-12-22T14:5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  <property fmtid="{D5CDD505-2E9C-101B-9397-08002B2CF9AE}" pid="6" name="_new_ms_pID_72543">
    <vt:lpwstr>(3)2wwNRK9fzKVcBFXegjJzXkTacrt2ydC0LZtNliowbNQo5SvJPFYBSqR4T9vFKi9NcQDDUFaE
zA53ynD5kyF+8UXz+VJ+DJv5fuxGPZ1etQW2fBEvlTcyQ35nqQPDjaKFEO1ImdeFVaC41e8Z
hlch734qaYQPmX8FErNPqHyUQbRSQEcFfCuG7ubo1lJFd/V1hLDYrvnw74hjG67s9CmyR81o
zPBr3sFR1qS25EXd69</vt:lpwstr>
  </property>
  <property fmtid="{D5CDD505-2E9C-101B-9397-08002B2CF9AE}" pid="7" name="_new_ms_pID_725431">
    <vt:lpwstr>GFDngTFE1DbDSnsN4vPKW0DZd0twJQynfhGn7I0keK0wB2xsByTxqv
nZmwz5mVmFvOmPLyL/ZMUZMhOUkM9X2WH8t2LrSG1HYWjDQGkX2VHKqri3DAwDyMU5kYxfK2
foQvLavnh8YFyaCLbkOpvza+j2fRLQbdEEzZkvHdNXhxlp+7SQkeBdBlf3GBdIis22YZhAv4
dzTg2oxaOJafWH2OPSGpd0Hcfw/D8ApLmbW+</vt:lpwstr>
  </property>
  <property fmtid="{D5CDD505-2E9C-101B-9397-08002B2CF9AE}" pid="8" name="_new_ms_pID_725432">
    <vt:lpwstr>t8evuDCqxR/AG/JjMmxJ6P7jNZiABycMIiJ/
oZHIqtJ1ld161eoojQMMF+xWr5XSqxNLJ5KHNAbm7gFbieRNAiMCamjYFroIq/HTrCJ7CwKC
</vt:lpwstr>
  </property>
  <property fmtid="{D5CDD505-2E9C-101B-9397-08002B2CF9AE}" pid="9" name="sflag">
    <vt:lpwstr>1448428356</vt:lpwstr>
  </property>
</Properties>
</file>